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664" r:id="rId4"/>
    <p:sldMasterId id="2147483707" r:id="rId5"/>
    <p:sldMasterId id="2147483714" r:id="rId6"/>
  </p:sldMasterIdLst>
  <p:notesMasterIdLst>
    <p:notesMasterId r:id="rId16"/>
  </p:notesMasterIdLst>
  <p:sldIdLst>
    <p:sldId id="2147471115" r:id="rId7"/>
    <p:sldId id="2147471116" r:id="rId8"/>
    <p:sldId id="2147471117" r:id="rId9"/>
    <p:sldId id="2147471118" r:id="rId10"/>
    <p:sldId id="2147471119" r:id="rId11"/>
    <p:sldId id="2147471120" r:id="rId12"/>
    <p:sldId id="2147471121" r:id="rId13"/>
    <p:sldId id="2147471122" r:id="rId14"/>
    <p:sldId id="2147471114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6B1E98-D6E3-45A8-9FFD-AA17E00919CA}" v="6" dt="2023-01-23T15:58:52.6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7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C35532-88CD-45A5-A392-9E617CC5795B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364E97-F945-4F25-B969-7085C8BE0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961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31254-3E2A-413C-B32A-FCE3FE6A85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8972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26.png"/><Relationship Id="rId2" Type="http://schemas.openxmlformats.org/officeDocument/2006/relationships/tags" Target="../tags/tag9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4" Type="http://schemas.openxmlformats.org/officeDocument/2006/relationships/image" Target="../media/image2.svg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Relationship Id="rId4" Type="http://schemas.openxmlformats.org/officeDocument/2006/relationships/image" Target="../media/image2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Relationship Id="rId4" Type="http://schemas.openxmlformats.org/officeDocument/2006/relationships/image" Target="../media/image2.sv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Relationship Id="rId4" Type="http://schemas.openxmlformats.org/officeDocument/2006/relationships/image" Target="../media/image2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7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4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8.sv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2.sv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5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5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openxmlformats.org/officeDocument/2006/relationships/image" Target="../media/image5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2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openxmlformats.org/officeDocument/2006/relationships/image" Target="../media/image5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4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4" Type="http://schemas.openxmlformats.org/officeDocument/2006/relationships/image" Target="../media/image2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5" Type="http://schemas.openxmlformats.org/officeDocument/2006/relationships/image" Target="../media/image5.png"/><Relationship Id="rId4" Type="http://schemas.openxmlformats.org/officeDocument/2006/relationships/image" Target="../media/image7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4" Type="http://schemas.openxmlformats.org/officeDocument/2006/relationships/image" Target="../media/image14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4" Type="http://schemas.openxmlformats.org/officeDocument/2006/relationships/image" Target="../media/image2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4" Type="http://schemas.openxmlformats.org/officeDocument/2006/relationships/image" Target="../media/image16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18.sv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4" Type="http://schemas.openxmlformats.org/officeDocument/2006/relationships/image" Target="../media/image2.sv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9.xml"/><Relationship Id="rId4" Type="http://schemas.openxmlformats.org/officeDocument/2006/relationships/image" Target="../media/image4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6" Type="http://schemas.openxmlformats.org/officeDocument/2006/relationships/image" Target="../media/image5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6" Type="http://schemas.openxmlformats.org/officeDocument/2006/relationships/image" Target="../media/image5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6" Type="http://schemas.openxmlformats.org/officeDocument/2006/relationships/image" Target="../media/image5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2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6" Type="http://schemas.openxmlformats.org/officeDocument/2006/relationships/image" Target="../media/image5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C63873-4F1F-755E-C652-4BE0939CCF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429C49-EAA8-7EAA-074F-E43D4696B7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A52405-F0A9-E95B-9519-921D23A6AC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C1BB5E-CF85-9398-2C35-090A70E66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DEDF5F-FAFC-6CBF-1A6B-8234F48D8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959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2930E-7E94-2D56-28F7-80BDCCA6D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307A40-6904-F292-DCB3-533E789C9D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1371E1-F6ED-6A92-5DC3-A4A7229AE4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DC242-54D2-7CFE-B6BA-BFD20C94C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073BCD-CB84-DAE2-C0DE-F53E8F070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37091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0" y="274721"/>
            <a:ext cx="7511638" cy="1477444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 dirty="0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98638"/>
            <a:ext cx="12192000" cy="505936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pic>
        <p:nvPicPr>
          <p:cNvPr id="635790693" name="image" descr="{&quot;templafy&quot;:{&quot;id&quot;:&quot;90a9f142-a4c5-415e-8cc6-f20aa8f6e049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46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561925" y="1"/>
            <a:ext cx="6630075" cy="68580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5627689" cy="2173288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 dirty="0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392000"/>
            <a:ext cx="562768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 dirty="0"/>
              <a:t>Add subtitle or date</a:t>
            </a:r>
          </a:p>
        </p:txBody>
      </p:sp>
      <p:pic>
        <p:nvPicPr>
          <p:cNvPr id="1810752854" name="image" descr="{&quot;templafy&quot;:{&quot;id&quot;:&quot;e30d749f-5aca-43ab-adb8-8f0bc40cfe05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08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600000"/>
            <a:ext cx="10752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32935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  <a:br>
              <a:rPr lang="en-US"/>
            </a:br>
            <a:r>
              <a:rPr lang="en-US"/>
              <a:t>Second lin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58775" y="1205167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8840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1/2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82829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0E3C824B-55BE-4B8E-A92B-5D422959E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0E3C824B-55BE-4B8E-A92B-5D422959EE1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E56898B-135A-4E07-901F-112F55ECA8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300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Picture 11">
            <a:extLst>
              <a:ext uri="{FF2B5EF4-FFF2-40B4-BE49-F238E27FC236}">
                <a16:creationId xmlns:a16="http://schemas.microsoft.com/office/drawing/2014/main" id="{CACF564F-29EF-4FAD-B31E-F5A9C949B0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6327775"/>
            <a:ext cx="1430338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3A1B0AB-08E4-4B52-A770-49957C07A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DA4CB8-15A5-425A-8A16-799F667A9A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350451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7e65dd0-ccac-47d9-b636-e6b7f07006c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 dirty="0"/>
              <a:t>Add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GB"/>
              <a:t>‹#›</a:t>
            </a:fld>
            <a:endParaRPr lang="en-GB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111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55f595-0524-4dc0-9f79-69bb6fce3fc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GB"/>
              <a:t>‹#›</a:t>
            </a:fld>
            <a:endParaRPr lang="en-GB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 dirty="0"/>
              <a:t>Add 1. Section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4058713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b4dddac-557b-45ff-9357-8d46d539117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 dirty="0"/>
              <a:t>Add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GB"/>
              <a:t>‹#›</a:t>
            </a:fld>
            <a:endParaRPr lang="en-GB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78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8853447-1ce5-4abf-966e-075ab7b63cf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 dirty="0"/>
              <a:t>Add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GB"/>
              <a:t>‹#›</a:t>
            </a:fld>
            <a:endParaRPr lang="en-GB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688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20D1A2-DE07-9470-1E59-A894118BCD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BE1BDF-4F6E-397E-30FF-D720CD6300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1B3A7A-F145-AE8E-E59E-F7173D40D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F4DD31-08BC-808C-4BD6-B696BE801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8F10BB-9A94-E17C-838B-1160032F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4139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745b428-6ce2-4a53-9650-0b333c678e7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 dirty="0"/>
              <a:t>Add title</a:t>
            </a:r>
            <a:endParaRPr lang="en-GB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GB" dirty="0"/>
              <a:t>Add subtitle or date</a:t>
            </a:r>
            <a:endParaRPr lang="en-US" dirty="0"/>
          </a:p>
        </p:txBody>
      </p:sp>
      <p:sp>
        <p:nvSpPr>
          <p:cNvPr id="9" name="image" descr="{&quot;templafy&quot;:{&quot;id&quot;:&quot;7b2ee0bc-c19b-4d96-844c-cf93f9d84d47&quot;}}" title="Form.DocLang.Logo_stacked_black">
            <a:extLst>
              <a:ext uri="{FF2B5EF4-FFF2-40B4-BE49-F238E27FC236}">
                <a16:creationId xmlns:a16="http://schemas.microsoft.com/office/drawing/2014/main" id="{7B2EDD42-ADB8-4CC6-8EF5-F2B73A424437}"/>
              </a:ext>
            </a:extLst>
          </p:cNvPr>
          <p:cNvSpPr/>
          <p:nvPr userDrawn="1"/>
        </p:nvSpPr>
        <p:spPr>
          <a:xfrm>
            <a:off x="358774" y="269875"/>
            <a:ext cx="2253600" cy="77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image" descr="{&quot;templafy&quot;:{&quot;id&quot;:&quot;9aa9f7af-eab1-40ee-8e10-1c8922074d86&quot;}}">
            <a:extLst>
              <a:ext uri="{FF2B5EF4-FFF2-40B4-BE49-F238E27FC236}">
                <a16:creationId xmlns:a16="http://schemas.microsoft.com/office/drawing/2014/main" id="{FBA58255-5780-456A-A718-6EE028703F5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336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70fe456-9d80-4265-9daf-caf4e37eeb9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GB"/>
              <a:t>‹#›</a:t>
            </a:fld>
            <a:endParaRPr lang="en-GB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 dirty="0"/>
              <a:t>Add 1. Section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790144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5d50ce0-56db-4dd5-9097-3b3d879d2c5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GB"/>
              <a:t>‹#›</a:t>
            </a:fld>
            <a:endParaRPr lang="en-GB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 dirty="0"/>
              <a:t>Add 1. Section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837821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9387f1b-a0d2-4130-9580-9331da54e3a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GB"/>
              <a:t>‹#›</a:t>
            </a:fld>
            <a:endParaRPr lang="en-GB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 dirty="0"/>
              <a:t>Add 1. Section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5783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2886564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6658466" name="image" descr="{&quot;templafy&quot;:{&quot;id&quot;:&quot;2fe8dd29-e45e-4e60-9672-3f206708110c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312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748997567" name="image" descr="{&quot;templafy&quot;:{&quot;id&quot;:&quot;48e97e82-dd77-47a7-a72b-8e8f9951843a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472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913311463" name="image" descr="{&quot;templafy&quot;:{&quot;id&quot;:&quot;bf97910e-de38-4428-a4a9-76a9db97ff0c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495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597"/>
            <a:ext cx="12192000" cy="68568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47904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88601915" name="image" descr="{&quot;templafy&quot;:{&quot;id&quot;:&quot;5f874243-d186-4c0e-8bef-3a49da3871b9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661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38279" cy="2173288"/>
          </a:xfrm>
        </p:spPr>
        <p:txBody>
          <a:bodyPr anchor="ctr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992573953" name="image" descr="{&quot;templafy&quot;:{&quot;id&quot;:&quot;46a6d9c9-e579-430a-bede-953fcc0fa9cf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730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660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940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38487F-3AD7-D0BD-B68C-71999625BC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3B081F-1FE0-6045-CCE3-D8B74B43E0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2F7C7C-D4A6-734E-C35F-A6AD020233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A29224-2A1B-5F7A-9743-BD5A34A8C5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9B18EB-137A-9C4D-3CD1-9F6A48C5C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5131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4087667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2010099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2993606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4" y="1947863"/>
            <a:ext cx="5626100" cy="4002087"/>
          </a:xfrm>
        </p:spPr>
        <p:txBody>
          <a:bodyPr numCol="1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582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 numCol="2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3734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58775" y="1798911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1464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39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960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1947325"/>
            <a:ext cx="3678237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4500" y="1947324"/>
            <a:ext cx="7575999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798911"/>
            <a:ext cx="75790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7826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725" y="6946900"/>
            <a:ext cx="2743200" cy="365125"/>
          </a:xfrm>
          <a:prstGeom prst="rect">
            <a:avLst/>
          </a:prstGeom>
        </p:spPr>
        <p:txBody>
          <a:bodyPr/>
          <a:lstStyle/>
          <a:p>
            <a:fld id="{25BF746F-F7BD-4DAC-844B-31D72A7B82B4}" type="datetime1">
              <a:rPr lang="en-US" smtClean="0"/>
              <a:t>1/2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1990725"/>
            <a:ext cx="5626100" cy="17795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4001" y="1992089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4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203950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7917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/>
              <a:t>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15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5E07E-4C9D-ABD0-11A7-C47850D88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7CCFB5-E636-2668-98C5-D19E3DFF3E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E3CF33-D922-C99F-A4EE-4DC7E703C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D8B603-5B8E-E11F-1F12-24537BC0B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D290F4-8089-9491-1318-699D7C0E3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0585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604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3463301"/>
            <a:ext cx="3678237" cy="143820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036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53776" y="3463301"/>
            <a:ext cx="3678237" cy="14457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47189" y="3463301"/>
            <a:ext cx="3678237" cy="14657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791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1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2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58775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147189" y="3256236"/>
            <a:ext cx="36863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256088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6624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1363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3951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6539" y="1797051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5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281363" y="3027362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3950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124950" y="3027361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176269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0905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0242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9493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03950" y="0"/>
            <a:ext cx="5988050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464" y="1947863"/>
            <a:ext cx="5627999" cy="401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5627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7729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17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5116513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3950" y="5276850"/>
            <a:ext cx="5627688" cy="681038"/>
          </a:xfr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171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086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243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68580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24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6045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20341612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06638" y="0"/>
            <a:ext cx="9885362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4680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449177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276" y="4890575"/>
            <a:ext cx="1732000" cy="1067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▲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099276" y="47127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6722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580845" y="352425"/>
            <a:ext cx="9611155" cy="650557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4201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79D1A4-FBB7-5240-3883-FAB1A7C1E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01BA2-AA40-200E-AEE7-4FEB0B91EF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66F28E-343C-938F-419E-FC5E3C7103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C4E883-150D-EE38-A577-4E9D4296B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EF21F3-4536-3F7F-4B28-7EDD2AD9F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FAB558-69A7-F506-E957-24624BF54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3565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675" y="4875751"/>
            <a:ext cx="1732000" cy="105177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◄</a:t>
            </a:r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1"/>
            <a:ext cx="10560573" cy="632204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099675" y="470271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069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38"/>
            <a:ext cx="5068888" cy="496887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5"/>
            <a:ext cx="5068888" cy="113347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781283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8775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465" y="47627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8086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053" y="47555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641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4416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1363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03951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123726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0674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9985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03951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262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23726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23037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281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202362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124950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58775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281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202362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124950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6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422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7519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983970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701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9"/>
            <a:ext cx="11474450" cy="18716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732310159" name="image" descr="{&quot;templafy&quot;:{&quot;id&quot;:&quot;411e18be-df85-4fe9-91ee-4b97befe078b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338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8"/>
            <a:ext cx="11474450" cy="1728787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814153951" name="image" descr="{&quot;templafy&quot;:{&quot;id&quot;:&quot;7f2e7bdf-86da-4917-8610-504fc63be1f2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098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41004591" name="image" descr="{&quot;templafy&quot;:{&quot;id&quot;:&quot;5b9dad96-8b07-4aa6-9876-72c5afaa8276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929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137A8-3382-CF77-CD06-F1DEA27EC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D93F38-6836-F2B1-6E6F-16CB304E5A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20E6B6-594B-7E09-5057-97F3E7D5AA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BB81FC-0A62-AADB-D251-5876B02DBB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759CF8-6835-FCF0-D348-4E2A09C550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2C6355-C3D3-507E-2C6D-96E8586CEF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20409AE-CD9C-66B5-C579-E892575EE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15B458-092D-1216-637B-5E989D265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6221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684310124" name="image" descr="{&quot;templafy&quot;:{&quot;id&quot;:&quot;def90d93-c8a0-481d-b699-0167b4981f20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94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7"/>
            <a:ext cx="11474450" cy="1528762"/>
          </a:xfrm>
        </p:spPr>
        <p:txBody>
          <a:bodyPr/>
          <a:lstStyle>
            <a:lvl1pPr marL="0" indent="0">
              <a:buNone/>
              <a:defRPr sz="88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/>
              <a:t>The Global Fund to Fight</a:t>
            </a:r>
            <a:br>
              <a:rPr lang="en-GB" sz="800"/>
            </a:br>
            <a:r>
              <a:rPr lang="en-US" sz="80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/>
              <a:t> </a:t>
            </a:r>
            <a:endParaRPr lang="en-US"/>
          </a:p>
          <a:p>
            <a:endParaRPr lang="en-US" sz="800"/>
          </a:p>
        </p:txBody>
      </p:sp>
      <p:pic>
        <p:nvPicPr>
          <p:cNvPr id="570729216" name="image" descr="{&quot;templafy&quot;:{&quot;id&quot;:&quot;075522db-c9e5-40cc-a998-59a2fe77587b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6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0" y="274721"/>
            <a:ext cx="7511638" cy="1477444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98638"/>
            <a:ext cx="12192000" cy="505936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pic>
        <p:nvPicPr>
          <p:cNvPr id="407338428" name="image" descr="{&quot;templafy&quot;:{&quot;id&quot;:&quot;e26abbe8-4fa1-4379-a5c6-19714c688b30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774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561925" y="1"/>
            <a:ext cx="6630075" cy="68580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5627689" cy="2173288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392000"/>
            <a:ext cx="562768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582893464" name="image" descr="{&quot;templafy&quot;:{&quot;id&quot;:&quot;a3df3b0d-fab7-44ca-b96b-33d35dc6f82d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47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AA7032-8CB7-40F4-9CB9-A644B8ADA1F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/>
              <a:t>Click to add item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290197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58775" y="1798911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9397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559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39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782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200559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1306690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107862-2D29-498C-A8E5-CA58CD808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726690-A045-DF0F-3150-AD0431C6E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EE807A-8484-996E-61D1-5B1FC9A45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426D31-B60E-4786-B59C-B820B4F4E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224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154081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 dirty="0"/>
              <a:t>Add subtitle or date</a:t>
            </a:r>
          </a:p>
        </p:txBody>
      </p:sp>
      <p:pic>
        <p:nvPicPr>
          <p:cNvPr id="123325771" name="image" descr="{&quot;templafy&quot;:{&quot;id&quot;:&quot;14b93ec1-9f0a-4c69-ae8c-cef5076314d9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259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 dirty="0"/>
              <a:t>Add subtitle or date</a:t>
            </a:r>
          </a:p>
        </p:txBody>
      </p:sp>
      <p:pic>
        <p:nvPicPr>
          <p:cNvPr id="350707841" name="image" descr="{&quot;templafy&quot;:{&quot;id&quot;:&quot;e5ce5a53-d10d-49e3-b8ed-99ec28e4d40e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781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 dirty="0"/>
              <a:t>Add subtitle or date</a:t>
            </a:r>
          </a:p>
        </p:txBody>
      </p:sp>
      <p:pic>
        <p:nvPicPr>
          <p:cNvPr id="520782517" name="image" descr="{&quot;templafy&quot;:{&quot;id&quot;:&quot;fc1af127-7322-4e2c-a207-f2b91094308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015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597"/>
            <a:ext cx="12192000" cy="68568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47904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 dirty="0"/>
              <a:t>Add subtitle or date</a:t>
            </a:r>
          </a:p>
        </p:txBody>
      </p:sp>
      <p:pic>
        <p:nvPicPr>
          <p:cNvPr id="971768376" name="image" descr="{&quot;templafy&quot;:{&quot;id&quot;:&quot;c5940eb9-6c23-41bb-9448-1b642e1d2ae8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819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38279" cy="2173288"/>
          </a:xfrm>
        </p:spPr>
        <p:txBody>
          <a:bodyPr anchor="ctr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 dirty="0"/>
              <a:t>Add subtitle or date</a:t>
            </a:r>
          </a:p>
        </p:txBody>
      </p:sp>
      <p:pic>
        <p:nvPicPr>
          <p:cNvPr id="1295699388" name="image" descr="{&quot;templafy&quot;:{&quot;id&quot;:&quot;12733c40-e925-4274-adca-2475d808c48b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524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 dirty="0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93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 dirty="0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24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 dirty="0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35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 dirty="0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69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35B57A-809B-3A9B-730C-58BE3E010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7C6343-D2BA-FB83-FFFA-98EE15818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D79E98-0C92-FCE1-3E9A-8ECD19787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3133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dd section sub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16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4" y="1947863"/>
            <a:ext cx="5626100" cy="4002087"/>
          </a:xfrm>
        </p:spPr>
        <p:txBody>
          <a:bodyPr numCol="1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 dirty="0"/>
              <a:t>Add section title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2834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 numCol="2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 dirty="0"/>
              <a:t>Add section title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2778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58775" y="1798911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1542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39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975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1947325"/>
            <a:ext cx="3678237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4500" y="1947324"/>
            <a:ext cx="7575999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798911"/>
            <a:ext cx="75790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7265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725" y="6946900"/>
            <a:ext cx="2743200" cy="365125"/>
          </a:xfrm>
          <a:prstGeom prst="rect">
            <a:avLst/>
          </a:prstGeom>
        </p:spPr>
        <p:txBody>
          <a:bodyPr/>
          <a:lstStyle/>
          <a:p>
            <a:fld id="{25BF746F-F7BD-4DAC-844B-31D72A7B82B4}" type="datetime1">
              <a:rPr lang="en-US" smtClean="0"/>
              <a:t>1/2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1990725"/>
            <a:ext cx="5626100" cy="17795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1" y="4179088"/>
            <a:ext cx="5626100" cy="1779588"/>
          </a:xfrm>
        </p:spPr>
        <p:txBody>
          <a:bodyPr/>
          <a:lstStyle/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4001" y="1992089"/>
            <a:ext cx="5626100" cy="1779588"/>
          </a:xfrm>
        </p:spPr>
        <p:txBody>
          <a:bodyPr/>
          <a:lstStyle/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4001" y="4179088"/>
            <a:ext cx="5626100" cy="1779588"/>
          </a:xfrm>
        </p:spPr>
        <p:txBody>
          <a:bodyPr/>
          <a:lstStyle/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203950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1078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 dirty="0"/>
              <a:t>Add statemen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64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313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3463301"/>
            <a:ext cx="3678237" cy="143820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036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or image</a:t>
            </a:r>
            <a:endParaRPr lang="en-US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53776" y="3463301"/>
            <a:ext cx="3678237" cy="14457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or image</a:t>
            </a:r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47189" y="3463301"/>
            <a:ext cx="3678237" cy="14657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791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or image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1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2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58775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147189" y="3256236"/>
            <a:ext cx="36863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256088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4196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90B0D-9968-615A-5E25-F7EF3EA27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CD8F07-C9A2-8C01-B725-EED748DF94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4CFEF5-9637-2C59-DCD1-D433B4DFCF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3C609E-B56D-D142-2BB0-DFB087BCC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D35E6C-80C4-7EEC-0B5D-9004497146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163D8B-662B-12DB-3104-73BBEAE05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44200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1363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3951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6539" y="1797051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5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281363" y="3027362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3950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124950" y="3027361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 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176269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0905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0242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6236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03950" y="0"/>
            <a:ext cx="5988050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464" y="1947863"/>
            <a:ext cx="5627999" cy="401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5627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7418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17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5116513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3950" y="5276850"/>
            <a:ext cx="5627688" cy="681038"/>
          </a:xfr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171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s or diagrams ► </a:t>
            </a:r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0921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243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text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68580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24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s or diagrams ►</a:t>
            </a: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430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5784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06638" y="0"/>
            <a:ext cx="9885362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s or diagrams ►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7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449177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276" y="4890575"/>
            <a:ext cx="1732000" cy="1067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s or diagrams ▲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099276" y="47127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590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s or diagrams ►</a:t>
            </a:r>
            <a:endParaRPr lang="en-US"/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580845" y="352425"/>
            <a:ext cx="9611155" cy="650557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2099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675" y="4875751"/>
            <a:ext cx="1732000" cy="105177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Add supporting caption for images or diagrams ◄</a:t>
            </a:r>
            <a:endParaRPr lang="en-US"/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1"/>
            <a:ext cx="10560573" cy="632204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099675" y="470271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4077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38"/>
            <a:ext cx="5068888" cy="496887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First Name Last Name</a:t>
            </a:r>
            <a:endParaRPr lang="en-US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5"/>
            <a:ext cx="5068888" cy="113347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280191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5A521-9884-240F-508F-9F1D7D929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F0F6F1-4E38-4B71-7BD5-84D46A22C0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B12BA3-062C-AEE8-7B9E-13003A53AB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7FB404-0767-2D20-E6DF-F1D4AFF04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7CF453-5DA7-5775-35E8-E325F830C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052A95-59B9-CB51-720A-C4B5DD3BC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3685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8775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First Name Last Name</a:t>
            </a:r>
            <a:endParaRPr lang="en-US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465" y="47627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8086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053" y="47555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641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4416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1363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03951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123726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 dirty="0"/>
              <a:t>Add </a:t>
            </a:r>
            <a:endParaRPr lang="en-US"/>
          </a:p>
          <a:p>
            <a:r>
              <a:rPr lang="en-US" dirty="0"/>
              <a:t>image</a:t>
            </a:r>
            <a:endParaRPr lang="en-US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0674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First Name Last Name</a:t>
            </a:r>
            <a:endParaRPr lang="en-US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9985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03951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First Name Last Name</a:t>
            </a:r>
            <a:endParaRPr lang="en-US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262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23726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First Name Last Name</a:t>
            </a:r>
            <a:endParaRPr lang="en-US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23037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281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202362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124950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58775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281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202362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124950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5928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Add Quote</a:t>
            </a:r>
            <a:endParaRPr lang="en-US"/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Add Source</a:t>
            </a:r>
            <a:endParaRPr lang="en-US"/>
          </a:p>
          <a:p>
            <a:pPr lvl="1"/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332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Add Quote</a:t>
            </a:r>
            <a:endParaRPr lang="en-US"/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 dirty="0"/>
              <a:t>Add Source</a:t>
            </a:r>
            <a:endParaRPr lang="en-US"/>
          </a:p>
          <a:p>
            <a:pPr lvl="1"/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9296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4122218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9"/>
            <a:ext cx="11474450" cy="18716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 dirty="0"/>
              <a:t>Add title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/>
          </a:p>
          <a:p>
            <a:endParaRPr lang="en-US" sz="800" dirty="0"/>
          </a:p>
        </p:txBody>
      </p:sp>
      <p:pic>
        <p:nvPicPr>
          <p:cNvPr id="1771052387" name="image" descr="{&quot;templafy&quot;:{&quot;id&quot;:&quot;f902db8c-7fe8-4e60-9b24-316fb43d7eda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4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8"/>
            <a:ext cx="11474450" cy="1728787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 dirty="0"/>
              <a:t>Add title</a:t>
            </a:r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/>
          </a:p>
          <a:p>
            <a:endParaRPr lang="en-US" sz="800" dirty="0"/>
          </a:p>
        </p:txBody>
      </p:sp>
      <p:pic>
        <p:nvPicPr>
          <p:cNvPr id="1513753928" name="image" descr="{&quot;templafy&quot;:{&quot;id&quot;:&quot;a3ed2d68-3620-49fd-9323-8b186f575fc7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12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 dirty="0"/>
              <a:t>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/>
          </a:p>
          <a:p>
            <a:endParaRPr lang="en-US" sz="800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73608056" name="image" descr="{&quot;templafy&quot;:{&quot;id&quot;:&quot;781168b6-02cc-411a-b1dd-2186b2b2344f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436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 dirty="0"/>
              <a:t>Add title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/>
          </a:p>
          <a:p>
            <a:endParaRPr lang="en-US" sz="800" dirty="0"/>
          </a:p>
        </p:txBody>
      </p:sp>
      <p:pic>
        <p:nvPicPr>
          <p:cNvPr id="1278899836" name="image" descr="{&quot;templafy&quot;:{&quot;id&quot;:&quot;6dfbb706-72bd-42b4-a530-bf0f1eb3e977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855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7"/>
            <a:ext cx="11474450" cy="1528762"/>
          </a:xfrm>
        </p:spPr>
        <p:txBody>
          <a:bodyPr/>
          <a:lstStyle>
            <a:lvl1pPr marL="0" indent="0">
              <a:buNone/>
              <a:defRPr sz="88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 dirty="0"/>
              <a:t>Add title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/>
          </a:p>
          <a:p>
            <a:endParaRPr lang="en-US" sz="800" dirty="0"/>
          </a:p>
        </p:txBody>
      </p:sp>
      <p:pic>
        <p:nvPicPr>
          <p:cNvPr id="986914129" name="image" descr="{&quot;templafy&quot;:{&quot;id&quot;:&quot;6a8b426f-1687-460a-8314-ab2aea8c54b1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29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image" Target="../media/image3.png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theme" Target="../theme/theme2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tags" Target="../tags/tag4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9.xml"/><Relationship Id="rId10" Type="http://schemas.openxmlformats.org/officeDocument/2006/relationships/tags" Target="../tags/tag47.xml"/><Relationship Id="rId4" Type="http://schemas.openxmlformats.org/officeDocument/2006/relationships/slideLayout" Target="../slideLayouts/slideLayout58.xml"/><Relationship Id="rId9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9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81.xml"/><Relationship Id="rId34" Type="http://schemas.openxmlformats.org/officeDocument/2006/relationships/slideLayout" Target="../slideLayouts/slideLayout94.xml"/><Relationship Id="rId42" Type="http://schemas.openxmlformats.org/officeDocument/2006/relationships/slideLayout" Target="../slideLayouts/slideLayout102.xml"/><Relationship Id="rId47" Type="http://schemas.openxmlformats.org/officeDocument/2006/relationships/slideLayout" Target="../slideLayouts/slideLayout107.xml"/><Relationship Id="rId50" Type="http://schemas.openxmlformats.org/officeDocument/2006/relationships/slideLayout" Target="../slideLayouts/slideLayout110.xml"/><Relationship Id="rId55" Type="http://schemas.openxmlformats.org/officeDocument/2006/relationships/tags" Target="../tags/tag5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37" Type="http://schemas.openxmlformats.org/officeDocument/2006/relationships/slideLayout" Target="../slideLayouts/slideLayout97.xml"/><Relationship Id="rId40" Type="http://schemas.openxmlformats.org/officeDocument/2006/relationships/slideLayout" Target="../slideLayouts/slideLayout100.xml"/><Relationship Id="rId45" Type="http://schemas.openxmlformats.org/officeDocument/2006/relationships/slideLayout" Target="../slideLayouts/slideLayout105.xml"/><Relationship Id="rId53" Type="http://schemas.openxmlformats.org/officeDocument/2006/relationships/slideLayout" Target="../slideLayouts/slideLayout113.xml"/><Relationship Id="rId58" Type="http://schemas.openxmlformats.org/officeDocument/2006/relationships/image" Target="../media/image3.png"/><Relationship Id="rId5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95.xml"/><Relationship Id="rId43" Type="http://schemas.openxmlformats.org/officeDocument/2006/relationships/slideLayout" Target="../slideLayouts/slideLayout103.xml"/><Relationship Id="rId48" Type="http://schemas.openxmlformats.org/officeDocument/2006/relationships/slideLayout" Target="../slideLayouts/slideLayout108.xml"/><Relationship Id="rId56" Type="http://schemas.openxmlformats.org/officeDocument/2006/relationships/tags" Target="../tags/tag54.xml"/><Relationship Id="rId8" Type="http://schemas.openxmlformats.org/officeDocument/2006/relationships/slideLayout" Target="../slideLayouts/slideLayout68.xml"/><Relationship Id="rId51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38" Type="http://schemas.openxmlformats.org/officeDocument/2006/relationships/slideLayout" Target="../slideLayouts/slideLayout98.xml"/><Relationship Id="rId4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101.xml"/><Relationship Id="rId54" Type="http://schemas.openxmlformats.org/officeDocument/2006/relationships/theme" Target="../theme/theme4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96.xml"/><Relationship Id="rId49" Type="http://schemas.openxmlformats.org/officeDocument/2006/relationships/slideLayout" Target="../slideLayouts/slideLayout109.xml"/><Relationship Id="rId57" Type="http://schemas.openxmlformats.org/officeDocument/2006/relationships/tags" Target="../tags/tag55.xml"/><Relationship Id="rId10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91.xml"/><Relationship Id="rId44" Type="http://schemas.openxmlformats.org/officeDocument/2006/relationships/slideLayout" Target="../slideLayouts/slideLayout104.xml"/><Relationship Id="rId52" Type="http://schemas.openxmlformats.org/officeDocument/2006/relationships/slideLayout" Target="../slideLayouts/slideLayout1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980AF2-5767-3CEB-241F-F004848FD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D72AE1-5ACC-F1E0-E1F0-F3EF7FD12D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70DDB8-3441-3D2A-C5C3-03D0F5E4A4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0BC48-9959-4523-9CAC-E44D2E285E80}" type="datetimeFigureOut">
              <a:rPr lang="en-US" smtClean="0"/>
              <a:t>1/2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3A6599-BBD5-B716-A488-A212F8B91E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D4F4B3-1E81-4724-760E-0C701F35A6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D44DBE-7D0D-4392-9A6F-02AE8BE7D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429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44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45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0" y="6203950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4700" y="6203950"/>
            <a:ext cx="8973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pic>
        <p:nvPicPr>
          <p:cNvPr id="1886993837" name="image" descr="{&quot;templafy&quot;:{&quot;id&quot;:&quot;37df496d-117f-4454-996e-4cea5e84eb15&quot;}}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360000" y="6427332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134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0" r:id="rId36"/>
    <p:sldLayoutId id="2147483701" r:id="rId37"/>
    <p:sldLayoutId id="2147483702" r:id="rId38"/>
    <p:sldLayoutId id="2147483703" r:id="rId39"/>
    <p:sldLayoutId id="2147483704" r:id="rId40"/>
    <p:sldLayoutId id="2147483705" r:id="rId41"/>
    <p:sldLayoutId id="2147483706" r:id="rId4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0" y="6203950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4700" y="6203950"/>
            <a:ext cx="8973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pic>
        <p:nvPicPr>
          <p:cNvPr id="1238137202" name="image" descr="{&quot;templafy&quot;:{&quot;id&quot;:&quot;c841b63d-0262-4ab5-bb2c-585f6b5ffa35&quot;}}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0000" y="6427332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607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55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56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  <a:endParaRPr lang="en-US"/>
          </a:p>
          <a:p>
            <a:pPr lvl="1"/>
            <a:r>
              <a:rPr lang="en-US" dirty="0"/>
              <a:t>Second level</a:t>
            </a:r>
            <a:endParaRPr lang="en-US"/>
          </a:p>
          <a:p>
            <a:pPr lvl="2"/>
            <a:r>
              <a:rPr lang="en-US" dirty="0"/>
              <a:t>Third level</a:t>
            </a:r>
            <a:endParaRPr lang="en-US"/>
          </a:p>
          <a:p>
            <a:pPr lvl="3"/>
            <a:r>
              <a:rPr lang="en-US" dirty="0"/>
              <a:t>Fourth level</a:t>
            </a:r>
            <a:endParaRPr lang="en-US"/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0" y="6203950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4700" y="6203950"/>
            <a:ext cx="8973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pic>
        <p:nvPicPr>
          <p:cNvPr id="751028535" name="image" descr="{&quot;templafy&quot;:{&quot;id&quot;:&quot;e8f37e60-13f8-4178-8da9-2448ffa337c8&quot;}}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360000" y="6427332"/>
            <a:ext cx="1623600" cy="15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09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  <p:sldLayoutId id="2147483744" r:id="rId30"/>
    <p:sldLayoutId id="2147483745" r:id="rId31"/>
    <p:sldLayoutId id="2147483746" r:id="rId32"/>
    <p:sldLayoutId id="2147483747" r:id="rId33"/>
    <p:sldLayoutId id="2147483748" r:id="rId34"/>
    <p:sldLayoutId id="2147483749" r:id="rId35"/>
    <p:sldLayoutId id="2147483750" r:id="rId36"/>
    <p:sldLayoutId id="2147483751" r:id="rId37"/>
    <p:sldLayoutId id="2147483752" r:id="rId38"/>
    <p:sldLayoutId id="2147483753" r:id="rId39"/>
    <p:sldLayoutId id="2147483754" r:id="rId40"/>
    <p:sldLayoutId id="2147483755" r:id="rId41"/>
    <p:sldLayoutId id="2147483756" r:id="rId42"/>
    <p:sldLayoutId id="2147483757" r:id="rId43"/>
    <p:sldLayoutId id="2147483758" r:id="rId44"/>
    <p:sldLayoutId id="2147483759" r:id="rId45"/>
    <p:sldLayoutId id="2147483760" r:id="rId46"/>
    <p:sldLayoutId id="2147483761" r:id="rId47"/>
    <p:sldLayoutId id="2147483762" r:id="rId48"/>
    <p:sldLayoutId id="2147483763" r:id="rId49"/>
    <p:sldLayoutId id="2147483764" r:id="rId50"/>
    <p:sldLayoutId id="2147483765" r:id="rId51"/>
    <p:sldLayoutId id="2147483766" r:id="rId52"/>
    <p:sldLayoutId id="2147483767" r:id="rId5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hyperlink" Target="https://www.theglobalfund.org/media/4759/core_resilientsustainablesystemsforhealth_infonote_en.pdf" TargetMode="External"/><Relationship Id="rId7" Type="http://schemas.openxmlformats.org/officeDocument/2006/relationships/image" Target="../media/image27.png"/><Relationship Id="rId2" Type="http://schemas.openxmlformats.org/officeDocument/2006/relationships/hyperlink" Target="https://www.theglobalfund.org/media/4309/fundingmodel_modularframework_handbook_en.pdf" TargetMode="External"/><Relationship Id="rId1" Type="http://schemas.openxmlformats.org/officeDocument/2006/relationships/slideLayout" Target="../slideLayouts/slideLayout54.xml"/><Relationship Id="rId6" Type="http://schemas.openxmlformats.org/officeDocument/2006/relationships/hyperlink" Target="https://apps.who.int/iris/bitstream/handle/10665/259954/WHO-RHR-18.05-eng.pdf?sequence=1&amp;isAllowed=y" TargetMode="External"/><Relationship Id="rId11" Type="http://schemas.openxmlformats.org/officeDocument/2006/relationships/image" Target="../media/image31.png"/><Relationship Id="rId5" Type="http://schemas.openxmlformats.org/officeDocument/2006/relationships/hyperlink" Target="https://www.theglobalfund.org/en/strategy/" TargetMode="External"/><Relationship Id="rId10" Type="http://schemas.openxmlformats.org/officeDocument/2006/relationships/image" Target="../media/image30.png"/><Relationship Id="rId4" Type="http://schemas.openxmlformats.org/officeDocument/2006/relationships/hyperlink" Target="https://www.theglobalfund.org/en/applying-for-funding/design-and-submit-funding-requests/applicant-guidance-materials/" TargetMode="External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3F80C3-6576-08B9-F74E-8F90BCBD77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5861" y="2179639"/>
            <a:ext cx="7577140" cy="2173288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Modular Framework</a:t>
            </a:r>
            <a:br>
              <a:rPr lang="en-US"/>
            </a:br>
            <a:r>
              <a:rPr lang="en-US">
                <a:solidFill>
                  <a:schemeClr val="accent6"/>
                </a:solidFill>
              </a:rPr>
              <a:t>RSS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2BD04E-03F7-2128-644C-54C9F4F65D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5862" y="4392000"/>
            <a:ext cx="7577138" cy="539229"/>
          </a:xfrm>
          <a:solidFill>
            <a:schemeClr val="bg1"/>
          </a:solidFill>
        </p:spPr>
        <p:txBody>
          <a:bodyPr/>
          <a:lstStyle/>
          <a:p>
            <a:r>
              <a:rPr lang="en-US" sz="3200" b="1"/>
              <a:t>Zambia CCM: 24 January 2023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153503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14D523-90D5-FE2D-E50D-30DE182CB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2D3E53-CCF5-9E2C-5923-F3D452042A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5EF22F2F-1EAE-98C0-84FC-3A2B816771EA}"/>
              </a:ext>
            </a:extLst>
          </p:cNvPr>
          <p:cNvGraphicFramePr>
            <a:graphicFrameLocks noGrp="1"/>
          </p:cNvGraphicFramePr>
          <p:nvPr/>
        </p:nvGraphicFramePr>
        <p:xfrm>
          <a:off x="359639" y="918457"/>
          <a:ext cx="9132703" cy="41527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78038">
                  <a:extLst>
                    <a:ext uri="{9D8B030D-6E8A-4147-A177-3AD203B41FA5}">
                      <a16:colId xmlns:a16="http://schemas.microsoft.com/office/drawing/2014/main" val="1606054885"/>
                    </a:ext>
                  </a:extLst>
                </a:gridCol>
                <a:gridCol w="7754665">
                  <a:extLst>
                    <a:ext uri="{9D8B030D-6E8A-4147-A177-3AD203B41FA5}">
                      <a16:colId xmlns:a16="http://schemas.microsoft.com/office/drawing/2014/main" val="4119524664"/>
                    </a:ext>
                  </a:extLst>
                </a:gridCol>
              </a:tblGrid>
              <a:tr h="103818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+mj-lt"/>
                        </a:rPr>
                        <a:t>Key Messag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56753257"/>
                  </a:ext>
                </a:extLst>
              </a:tr>
              <a:tr h="103818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+mj-lt"/>
                        </a:rPr>
                        <a:t>Links to Other Guidance Documents and Global Guidance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25421683"/>
                  </a:ext>
                </a:extLst>
              </a:tr>
              <a:tr h="103818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+mj-lt"/>
                        </a:rPr>
                        <a:t>Summary of Chang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54225328"/>
                  </a:ext>
                </a:extLst>
              </a:tr>
              <a:tr h="103818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>
                          <a:latin typeface="+mj-lt"/>
                        </a:rPr>
                        <a:t>Annex: Detailed Summary of All Changes</a:t>
                      </a:r>
                      <a:endParaRPr lang="en-US"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4118026"/>
                  </a:ext>
                </a:extLst>
              </a:tr>
            </a:tbl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70FAF2D0-D323-7136-E634-58654DA74DAC}"/>
              </a:ext>
            </a:extLst>
          </p:cNvPr>
          <p:cNvSpPr/>
          <p:nvPr/>
        </p:nvSpPr>
        <p:spPr>
          <a:xfrm>
            <a:off x="589280" y="1082711"/>
            <a:ext cx="640080" cy="64008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38B3345-3A64-E855-2F59-71460BA1BDEC}"/>
              </a:ext>
            </a:extLst>
          </p:cNvPr>
          <p:cNvSpPr/>
          <p:nvPr/>
        </p:nvSpPr>
        <p:spPr>
          <a:xfrm>
            <a:off x="589280" y="2134694"/>
            <a:ext cx="640080" cy="640080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2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086DF27-D28B-9721-3657-3E7C2FA7CDD0}"/>
              </a:ext>
            </a:extLst>
          </p:cNvPr>
          <p:cNvSpPr/>
          <p:nvPr/>
        </p:nvSpPr>
        <p:spPr>
          <a:xfrm>
            <a:off x="589280" y="3186677"/>
            <a:ext cx="640080" cy="640080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3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22E06CA-C9E2-CE36-5AE4-8AA3F8282797}"/>
              </a:ext>
            </a:extLst>
          </p:cNvPr>
          <p:cNvSpPr/>
          <p:nvPr/>
        </p:nvSpPr>
        <p:spPr>
          <a:xfrm>
            <a:off x="589280" y="4238660"/>
            <a:ext cx="640080" cy="640080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7225036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62CA2E-BC16-C630-1EC9-031DA4BF8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Messages</a:t>
            </a:r>
            <a:br>
              <a:rPr lang="en-US"/>
            </a:br>
            <a:r>
              <a:rPr lang="en-US">
                <a:latin typeface="+mn-lt"/>
              </a:rPr>
              <a:t>Rationale for New Indicators</a:t>
            </a:r>
            <a:endParaRPr lang="fr-CH"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E53C1C-01B9-0C61-8633-B3CD92C7C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AA7032-8CB7-40F4-9CB9-A644B8ADA1F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FB82C60-6848-213E-00BD-58160FB2664C}"/>
              </a:ext>
            </a:extLst>
          </p:cNvPr>
          <p:cNvSpPr/>
          <p:nvPr/>
        </p:nvSpPr>
        <p:spPr>
          <a:xfrm>
            <a:off x="355198" y="1201160"/>
            <a:ext cx="11472000" cy="260457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67FCEB-977C-2AF3-BCF9-7FD52AAACA17}"/>
              </a:ext>
            </a:extLst>
          </p:cNvPr>
          <p:cNvSpPr/>
          <p:nvPr/>
        </p:nvSpPr>
        <p:spPr>
          <a:xfrm>
            <a:off x="355198" y="3963238"/>
            <a:ext cx="3657600" cy="2203054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lignment with activit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in the HIV, TB and malaria sections of th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Modular Framewor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6E0E12-7A72-2B65-0C7A-368237DFCB4A}"/>
              </a:ext>
            </a:extLst>
          </p:cNvPr>
          <p:cNvSpPr/>
          <p:nvPr/>
        </p:nvSpPr>
        <p:spPr>
          <a:xfrm>
            <a:off x="355198" y="1201161"/>
            <a:ext cx="11472000" cy="532622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lignment with the Global Fund Strategy (2023-2028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2877A7B-94D1-071B-1B4A-D0071664CB93}"/>
              </a:ext>
            </a:extLst>
          </p:cNvPr>
          <p:cNvSpPr txBox="1"/>
          <p:nvPr/>
        </p:nvSpPr>
        <p:spPr>
          <a:xfrm>
            <a:off x="418556" y="1759124"/>
            <a:ext cx="11354888" cy="20313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mphasis on integrated people centered quality health services 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cludes new topics : health financing, private sector engagement, medical oxyge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dded pandemic preparedness activities/interventions in 4 modules: lab systems, HRH and quality of care, M&amp;E and medical oxygen. 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belled as RSSH/PP for easy identification and future tracking needs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pped to IHR/Joint External Evaluation (JEE) technical frameworks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ndemic Preparedness-related activities included in other modules, but lighter touch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C273FE-5987-6252-66C6-7537E86ED90C}"/>
              </a:ext>
            </a:extLst>
          </p:cNvPr>
          <p:cNvSpPr/>
          <p:nvPr/>
        </p:nvSpPr>
        <p:spPr>
          <a:xfrm>
            <a:off x="4235521" y="3963238"/>
            <a:ext cx="3657600" cy="2203054"/>
          </a:xfrm>
          <a:prstGeom prst="rect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Revised indicators and workplan tracking measures (WPTM) to allow for enhanced measurement of result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B565F7-A00A-88B3-15D7-EC972E266EAF}"/>
              </a:ext>
            </a:extLst>
          </p:cNvPr>
          <p:cNvSpPr/>
          <p:nvPr/>
        </p:nvSpPr>
        <p:spPr>
          <a:xfrm>
            <a:off x="8115844" y="3963238"/>
            <a:ext cx="3657600" cy="2203054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ddressed RSSH reporting and tracking needs</a:t>
            </a:r>
          </a:p>
        </p:txBody>
      </p:sp>
    </p:spTree>
    <p:extLst>
      <p:ext uri="{BB962C8B-B14F-4D97-AF65-F5344CB8AC3E}">
        <p14:creationId xmlns:p14="http://schemas.microsoft.com/office/powerpoint/2010/main" val="91447967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62CA2E-BC16-C630-1EC9-031DA4BF8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47" y="212957"/>
            <a:ext cx="11472000" cy="939674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The </a:t>
            </a:r>
            <a:r>
              <a:rPr lang="en-US">
                <a:solidFill>
                  <a:schemeClr val="accent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dular Framework</a:t>
            </a:r>
            <a:r>
              <a:rPr lang="en-US"/>
              <a:t> is linked to other Global Fund application materials and reflects global guidance and metrics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E53C1C-01B9-0C61-8633-B3CD92C7C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AA7032-8CB7-40F4-9CB9-A644B8ADA1F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4" name="Text Placeholder 1035">
            <a:extLst>
              <a:ext uri="{FF2B5EF4-FFF2-40B4-BE49-F238E27FC236}">
                <a16:creationId xmlns:a16="http://schemas.microsoft.com/office/drawing/2014/main" id="{EF168666-7C87-3465-A651-27A6E9B9B35E}"/>
              </a:ext>
            </a:extLst>
          </p:cNvPr>
          <p:cNvSpPr txBox="1">
            <a:spLocks/>
          </p:cNvSpPr>
          <p:nvPr/>
        </p:nvSpPr>
        <p:spPr>
          <a:xfrm>
            <a:off x="360001" y="1786602"/>
            <a:ext cx="5700498" cy="2607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>
                  <a:lumMod val="60000"/>
                  <a:lumOff val="40000"/>
                </a:prst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Information Not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>
                  <a:lumMod val="60000"/>
                  <a:lumOff val="40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4DF9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SSH Information Not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vides guidance to applicants preparing funding requests for RSSH. Information Notes for HIV, TB and malaria are availabl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4DF9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>
                  <a:lumMod val="60000"/>
                  <a:lumOff val="40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odular Framework is aligned with the revised Global Fund RSSH Information Note and the critical approaches described within this.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>
                  <a:lumMod val="60000"/>
                  <a:lumOff val="40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1036">
            <a:extLst>
              <a:ext uri="{FF2B5EF4-FFF2-40B4-BE49-F238E27FC236}">
                <a16:creationId xmlns:a16="http://schemas.microsoft.com/office/drawing/2014/main" id="{A4A7C5BC-056F-AA0B-91FB-57C6CCA785F2}"/>
              </a:ext>
            </a:extLst>
          </p:cNvPr>
          <p:cNvSpPr txBox="1">
            <a:spLocks/>
          </p:cNvSpPr>
          <p:nvPr/>
        </p:nvSpPr>
        <p:spPr>
          <a:xfrm>
            <a:off x="6471726" y="1786602"/>
            <a:ext cx="5360273" cy="3774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5F5F5F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dditional Resourc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5F5F5F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93939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1. Global Fund Strategy (2023-2028) (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E4DF9"/>
                </a:solidFill>
                <a:effectLst/>
                <a:uLnTx/>
                <a:uFillTx/>
                <a:latin typeface="Arial Black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93939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E4DF9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5F5F5F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an emphasis on priorities for integrated people centered care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5F5F5F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93939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2. Technical Briefs (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E4DF9"/>
                </a:solidFill>
                <a:effectLst/>
                <a:uLnTx/>
                <a:uFillTx/>
                <a:latin typeface="Arial Black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93939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)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5F5F5F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93939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3. Global Guidelines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prstClr val="black">
                  <a:lumMod val="60000"/>
                  <a:lumOff val="40000"/>
                </a:prst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 international guidance/guidelines including WHO recommenda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prstClr val="black">
                  <a:lumMod val="60000"/>
                  <a:lumOff val="40000"/>
                </a:prst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O highlights recommendations for the prevention and treatment of malaria in pregnancy (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E4DF9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prstClr val="black">
                  <a:lumMod val="60000"/>
                  <a:lumOff val="40000"/>
                </a:prst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prstClr val="black">
                  <a:lumMod val="60000"/>
                  <a:lumOff val="40000"/>
                </a:prst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08D063-912F-3052-4EF5-B9C3ED90D6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50991" y="4240799"/>
            <a:ext cx="1351503" cy="1911096"/>
          </a:xfrm>
          <a:prstGeom prst="rect">
            <a:avLst/>
          </a:prstGeom>
          <a:ln w="12700">
            <a:solidFill>
              <a:schemeClr val="tx1"/>
            </a:solidFill>
          </a:ln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75E8B4-7F4C-47D6-EFCA-58E664F39D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00643" y="4240799"/>
            <a:ext cx="1359856" cy="1910942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8A00112-88A5-5EDB-2C08-69C426E36D1E}"/>
              </a:ext>
            </a:extLst>
          </p:cNvPr>
          <p:cNvGrpSpPr/>
          <p:nvPr/>
        </p:nvGrpSpPr>
        <p:grpSpPr>
          <a:xfrm>
            <a:off x="6482935" y="5746750"/>
            <a:ext cx="4959189" cy="914400"/>
            <a:chOff x="3203766" y="5696793"/>
            <a:chExt cx="4959189" cy="914400"/>
          </a:xfrm>
        </p:grpSpPr>
        <p:sp>
          <p:nvSpPr>
            <p:cNvPr id="15" name="Text Placeholder 5">
              <a:extLst>
                <a:ext uri="{FF2B5EF4-FFF2-40B4-BE49-F238E27FC236}">
                  <a16:creationId xmlns:a16="http://schemas.microsoft.com/office/drawing/2014/main" id="{4EA2B395-D0EC-077C-DA3E-2098CED48583}"/>
                </a:ext>
              </a:extLst>
            </p:cNvPr>
            <p:cNvSpPr txBox="1">
              <a:spLocks/>
            </p:cNvSpPr>
            <p:nvPr/>
          </p:nvSpPr>
          <p:spPr>
            <a:xfrm>
              <a:off x="4452207" y="5919993"/>
              <a:ext cx="3710748" cy="4680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Translations are in process for all Global Fund materials.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8644F01-0D67-FFB0-C8FD-1F2DC8B1D254}"/>
                </a:ext>
              </a:extLst>
            </p:cNvPr>
            <p:cNvSpPr/>
            <p:nvPr/>
          </p:nvSpPr>
          <p:spPr>
            <a:xfrm>
              <a:off x="3647329" y="5696793"/>
              <a:ext cx="4515626" cy="914400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C4701B8-509E-BDF2-B3D5-E1E669C26283}"/>
                </a:ext>
              </a:extLst>
            </p:cNvPr>
            <p:cNvSpPr/>
            <p:nvPr/>
          </p:nvSpPr>
          <p:spPr>
            <a:xfrm>
              <a:off x="3203766" y="5696793"/>
              <a:ext cx="1076134" cy="914400"/>
            </a:xfrm>
            <a:prstGeom prst="rect">
              <a:avLst/>
            </a:prstGeom>
            <a:solidFill>
              <a:schemeClr val="tx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endParaRPr>
            </a:p>
          </p:txBody>
        </p:sp>
        <p:pic>
          <p:nvPicPr>
            <p:cNvPr id="18" name="Picture 17" descr="Icon&#10;&#10;Description automatically generated">
              <a:extLst>
                <a:ext uri="{FF2B5EF4-FFF2-40B4-BE49-F238E27FC236}">
                  <a16:creationId xmlns:a16="http://schemas.microsoft.com/office/drawing/2014/main" id="{BD23505F-356D-DEF2-38E8-7B8F58CE4F2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6073" y="5788233"/>
              <a:ext cx="731520" cy="73152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D095EA60-FC4C-3DC5-220D-3DCEF1934A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01425" y="4240799"/>
            <a:ext cx="1351418" cy="19110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8D1A01-B949-A222-BB4A-E890E2EA923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0001" y="4240799"/>
            <a:ext cx="1343276" cy="191139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9648022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E0001E-67F4-4E15-84BC-6F055A651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91AB414-57AE-BCFA-AAF9-A6D165AB8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39371"/>
            <a:ext cx="11471638" cy="468000"/>
          </a:xfrm>
        </p:spPr>
        <p:txBody>
          <a:bodyPr/>
          <a:lstStyle/>
          <a:p>
            <a:r>
              <a:rPr lang="en-US" sz="2800"/>
              <a:t>Summary of Changes: Updated RSSH Modules</a:t>
            </a:r>
          </a:p>
        </p:txBody>
      </p:sp>
      <p:sp>
        <p:nvSpPr>
          <p:cNvPr id="14" name="Arrow: Striped Right 13">
            <a:extLst>
              <a:ext uri="{FF2B5EF4-FFF2-40B4-BE49-F238E27FC236}">
                <a16:creationId xmlns:a16="http://schemas.microsoft.com/office/drawing/2014/main" id="{03E4668D-5E1C-AEA1-3355-4FD380211A25}"/>
              </a:ext>
            </a:extLst>
          </p:cNvPr>
          <p:cNvSpPr/>
          <p:nvPr/>
        </p:nvSpPr>
        <p:spPr>
          <a:xfrm>
            <a:off x="5699053" y="2429882"/>
            <a:ext cx="704850" cy="628650"/>
          </a:xfrm>
          <a:prstGeom prst="striped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942C04-4321-75AE-DE11-1DF2198BD820}"/>
              </a:ext>
            </a:extLst>
          </p:cNvPr>
          <p:cNvSpPr txBox="1"/>
          <p:nvPr/>
        </p:nvSpPr>
        <p:spPr>
          <a:xfrm>
            <a:off x="360000" y="4806446"/>
            <a:ext cx="11310300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 changes: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wo modules deleted (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93939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y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and two new (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4CC3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ted service delivery and quality improvement module deleted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 merged into HRH and quality of car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Financial management systems module deleted  merged into (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New!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) Health Financing Systems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(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New!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) Medical oxygen and respiratory care systems module</a:t>
            </a:r>
          </a:p>
          <a:p>
            <a:pPr marL="5715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63FF1F5A-8902-0980-95F9-A7BCCCA9C361}"/>
              </a:ext>
            </a:extLst>
          </p:cNvPr>
          <p:cNvGraphicFramePr>
            <a:graphicFrameLocks noGrp="1"/>
          </p:cNvGraphicFramePr>
          <p:nvPr/>
        </p:nvGraphicFramePr>
        <p:xfrm>
          <a:off x="610744" y="729987"/>
          <a:ext cx="4974975" cy="4028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974975">
                  <a:extLst>
                    <a:ext uri="{9D8B030D-6E8A-4147-A177-3AD203B41FA5}">
                      <a16:colId xmlns:a16="http://schemas.microsoft.com/office/drawing/2014/main" val="316169148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+mj-lt"/>
                        </a:rPr>
                        <a:t>2020-2022 Modu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0243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endParaRPr lang="en-US" sz="1800" b="1" kern="12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342900" indent="-342900">
                        <a:buAutoNum type="arabicPeriod"/>
                      </a:pPr>
                      <a:r>
                        <a:rPr lang="en-US" sz="1800" b="1" kern="1200">
                          <a:solidFill>
                            <a:schemeClr val="tx1"/>
                          </a:solidFill>
                          <a:effectLst/>
                        </a:rPr>
                        <a:t>Health sector planning and governance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800" b="1" kern="1200">
                          <a:solidFill>
                            <a:schemeClr val="tx2"/>
                          </a:solidFill>
                        </a:rPr>
                        <a:t>Integrated service delivery &amp; quality improvement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800" b="1" kern="1200">
                          <a:solidFill>
                            <a:schemeClr val="tx2"/>
                          </a:solidFill>
                        </a:rPr>
                        <a:t>Financial management systems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Community systems strengthening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800" b="1"/>
                        <a:t>Health Products </a:t>
                      </a:r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Management Systems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800" b="1" kern="1200">
                          <a:solidFill>
                            <a:schemeClr val="tx1"/>
                          </a:solidFill>
                          <a:effectLst/>
                        </a:rPr>
                        <a:t>Human resources for health and quality of care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Laboratory systems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b="1"/>
                        <a:t>Health management information systems &amp; M&amp;E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US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699267"/>
                  </a:ext>
                </a:extLst>
              </a:tr>
            </a:tbl>
          </a:graphicData>
        </a:graphic>
      </p:graphicFrame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936F1DC6-3167-9463-C633-F6D17E4A0638}"/>
              </a:ext>
            </a:extLst>
          </p:cNvPr>
          <p:cNvGraphicFramePr>
            <a:graphicFrameLocks noGrp="1"/>
          </p:cNvGraphicFramePr>
          <p:nvPr/>
        </p:nvGraphicFramePr>
        <p:xfrm>
          <a:off x="6606282" y="729987"/>
          <a:ext cx="5064018" cy="4028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64018">
                  <a:extLst>
                    <a:ext uri="{9D8B030D-6E8A-4147-A177-3AD203B41FA5}">
                      <a16:colId xmlns:a16="http://schemas.microsoft.com/office/drawing/2014/main" val="28267266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bg1"/>
                          </a:solidFill>
                          <a:latin typeface="+mj-lt"/>
                        </a:rPr>
                        <a:t>2023-2025 Module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3426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en-US" sz="1800" b="1" u="none" strike="noStrike" kern="120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342900" indent="-34290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b="1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Health sector planning and governance for integrated people-centered services</a:t>
                      </a:r>
                      <a:endParaRPr lang="en-US" sz="1800" b="1" u="none" strike="noStrike">
                        <a:effectLst/>
                      </a:endParaRPr>
                    </a:p>
                    <a:p>
                      <a:pPr marL="342900" indent="-34290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b="1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Community systems strengthening</a:t>
                      </a:r>
                      <a:endParaRPr lang="en-US" sz="1800" b="1" u="none" strike="noStrike">
                        <a:effectLst/>
                      </a:endParaRPr>
                    </a:p>
                    <a:p>
                      <a:pPr marL="342900" marR="0" indent="-342900" algn="l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b="1" u="none" strike="noStrike" kern="1200">
                          <a:solidFill>
                            <a:schemeClr val="accent4"/>
                          </a:solidFill>
                          <a:effectLst/>
                        </a:rPr>
                        <a:t>Health Financing Systems</a:t>
                      </a:r>
                      <a:endParaRPr lang="en-US" sz="1800" b="1" u="none" strike="noStrike">
                        <a:solidFill>
                          <a:schemeClr val="accent4"/>
                        </a:solidFill>
                        <a:effectLst/>
                      </a:endParaRPr>
                    </a:p>
                    <a:p>
                      <a:pPr marL="342900" indent="-34290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b="1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Health Products Management Systems</a:t>
                      </a:r>
                      <a:endParaRPr lang="en-US" sz="1800" b="1" u="none" strike="noStrike">
                        <a:effectLst/>
                      </a:endParaRPr>
                    </a:p>
                    <a:p>
                      <a:pPr marL="342900" indent="-34290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b="1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Human resources for health and quality of care</a:t>
                      </a:r>
                      <a:endParaRPr lang="en-US" sz="1800" b="1" u="none" strike="noStrike">
                        <a:effectLst/>
                      </a:endParaRPr>
                    </a:p>
                    <a:p>
                      <a:pPr marL="342900" indent="-34290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b="1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Laboratory systems</a:t>
                      </a:r>
                      <a:endParaRPr lang="en-US" sz="1800" b="1" u="none" strike="noStrike">
                        <a:effectLst/>
                      </a:endParaRPr>
                    </a:p>
                    <a:p>
                      <a:pPr marL="342900" indent="-34290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b="1" u="none" strike="noStrike" kern="1200">
                          <a:solidFill>
                            <a:schemeClr val="accent4"/>
                          </a:solidFill>
                          <a:effectLst/>
                        </a:rPr>
                        <a:t>Medical Oxygen and Respiratory Care Systems</a:t>
                      </a:r>
                      <a:endParaRPr lang="en-US" sz="1800" b="1" u="none" strike="noStrike">
                        <a:solidFill>
                          <a:schemeClr val="accent4"/>
                        </a:solidFill>
                        <a:effectLst/>
                      </a:endParaRPr>
                    </a:p>
                    <a:p>
                      <a:pPr marL="342900" indent="-34290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800" b="1" u="none" strike="noStrike" kern="1200">
                          <a:solidFill>
                            <a:srgbClr val="000000"/>
                          </a:solidFill>
                          <a:effectLst/>
                        </a:rPr>
                        <a:t>Monitoring and Evaluation Systems</a:t>
                      </a:r>
                      <a:endParaRPr lang="en-US" sz="1800" b="1" u="none" strike="noStrike">
                        <a:effectLst/>
                      </a:endParaRPr>
                    </a:p>
                    <a:p>
                      <a:endParaRPr lang="en-US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0949003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2352345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916F6C-6E22-DFE9-A459-6698B4BCF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0" y="6203950"/>
            <a:ext cx="8973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89F7D99-6C84-D187-918D-90B238B0C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Summary of Changes (by Module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F4E4AC4-6AA7-AFF7-C3F0-08783CE9618B}"/>
              </a:ext>
            </a:extLst>
          </p:cNvPr>
          <p:cNvGrpSpPr/>
          <p:nvPr/>
        </p:nvGrpSpPr>
        <p:grpSpPr>
          <a:xfrm>
            <a:off x="359999" y="702480"/>
            <a:ext cx="5596301" cy="1288034"/>
            <a:chOff x="7247396" y="2262986"/>
            <a:chExt cx="5596301" cy="111468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CA44238-5883-0F83-570A-CCA1F1630E38}"/>
                </a:ext>
              </a:extLst>
            </p:cNvPr>
            <p:cNvSpPr txBox="1"/>
            <p:nvPr/>
          </p:nvSpPr>
          <p:spPr>
            <a:xfrm flipH="1">
              <a:off x="9650375" y="2405385"/>
              <a:ext cx="3091720" cy="8298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Includes a new intervention to support private sector engagement 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by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capturing legal, regulatory, TA &amp; capacity building activities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(Body)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06D73AB-A550-76AA-29EB-35C5FB36EE54}"/>
                </a:ext>
              </a:extLst>
            </p:cNvPr>
            <p:cNvSpPr/>
            <p:nvPr/>
          </p:nvSpPr>
          <p:spPr>
            <a:xfrm>
              <a:off x="7247398" y="2262986"/>
              <a:ext cx="5596299" cy="1114685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7069D8D-2223-3E5F-6554-6EB40C853ED9}"/>
                </a:ext>
              </a:extLst>
            </p:cNvPr>
            <p:cNvSpPr/>
            <p:nvPr/>
          </p:nvSpPr>
          <p:spPr>
            <a:xfrm>
              <a:off x="7247396" y="2262986"/>
              <a:ext cx="2248143" cy="1114685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Health Governance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EFA3B2-2083-F023-2D82-9F17FCDC2843}"/>
              </a:ext>
            </a:extLst>
          </p:cNvPr>
          <p:cNvGrpSpPr/>
          <p:nvPr/>
        </p:nvGrpSpPr>
        <p:grpSpPr>
          <a:xfrm>
            <a:off x="809090" y="5270307"/>
            <a:ext cx="5147210" cy="1051024"/>
            <a:chOff x="7247397" y="2262986"/>
            <a:chExt cx="5147210" cy="1114685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42AEB31-9886-18F4-3938-04D1CA16A76D}"/>
                </a:ext>
              </a:extLst>
            </p:cNvPr>
            <p:cNvSpPr txBox="1"/>
            <p:nvPr/>
          </p:nvSpPr>
          <p:spPr>
            <a:xfrm flipH="1">
              <a:off x="9172640" y="2405385"/>
              <a:ext cx="3173421" cy="8298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upports oxygen and respiratory care systems.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(Body)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142F675-D5CB-A992-34F5-B8DC44501E7B}"/>
                </a:ext>
              </a:extLst>
            </p:cNvPr>
            <p:cNvSpPr/>
            <p:nvPr/>
          </p:nvSpPr>
          <p:spPr>
            <a:xfrm>
              <a:off x="7247398" y="2262986"/>
              <a:ext cx="5147209" cy="1114685"/>
            </a:xfrm>
            <a:prstGeom prst="rect">
              <a:avLst/>
            </a:pr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84E6F05-DEAC-26FE-F804-00E010FFC00F}"/>
                </a:ext>
              </a:extLst>
            </p:cNvPr>
            <p:cNvSpPr/>
            <p:nvPr/>
          </p:nvSpPr>
          <p:spPr>
            <a:xfrm>
              <a:off x="7247397" y="2262986"/>
              <a:ext cx="1799051" cy="1114685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Medical Oxygen &amp; Respiratory Car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87E80DE-2E20-70AF-8E22-96D426185EC6}"/>
              </a:ext>
            </a:extLst>
          </p:cNvPr>
          <p:cNvGrpSpPr/>
          <p:nvPr/>
        </p:nvGrpSpPr>
        <p:grpSpPr>
          <a:xfrm>
            <a:off x="359999" y="2121970"/>
            <a:ext cx="5596301" cy="1406965"/>
            <a:chOff x="7247396" y="2262986"/>
            <a:chExt cx="5596301" cy="111468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589488A-99CA-85D4-200A-4955A0FCEC9B}"/>
                </a:ext>
              </a:extLst>
            </p:cNvPr>
            <p:cNvSpPr txBox="1"/>
            <p:nvPr/>
          </p:nvSpPr>
          <p:spPr>
            <a:xfrm flipH="1">
              <a:off x="9597321" y="2405385"/>
              <a:ext cx="3144776" cy="8298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tronger focus on people-centered interventions with explicit emphasis on “community-led” activities (e.g.,  community-led monitoring.)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5CE592F-AB73-CA0E-DC66-D1717614EA16}"/>
                </a:ext>
              </a:extLst>
            </p:cNvPr>
            <p:cNvSpPr/>
            <p:nvPr/>
          </p:nvSpPr>
          <p:spPr>
            <a:xfrm>
              <a:off x="7247398" y="2262986"/>
              <a:ext cx="5596299" cy="1114685"/>
            </a:xfrm>
            <a:prstGeom prst="rect">
              <a:avLst/>
            </a:pr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644F1F9-E1C1-91AB-55C7-D007917D4D63}"/>
                </a:ext>
              </a:extLst>
            </p:cNvPr>
            <p:cNvSpPr/>
            <p:nvPr/>
          </p:nvSpPr>
          <p:spPr>
            <a:xfrm>
              <a:off x="7247396" y="2262986"/>
              <a:ext cx="2195087" cy="1114685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Community System Strengthening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61286EF-D1D1-53F6-94BB-4DFEA17B9705}"/>
              </a:ext>
            </a:extLst>
          </p:cNvPr>
          <p:cNvGrpSpPr/>
          <p:nvPr/>
        </p:nvGrpSpPr>
        <p:grpSpPr>
          <a:xfrm>
            <a:off x="6235700" y="2773252"/>
            <a:ext cx="5596300" cy="1144618"/>
            <a:chOff x="7247397" y="2262986"/>
            <a:chExt cx="5596300" cy="111468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9C93F1D-5DC4-A0E7-7850-3B27C61A595E}"/>
                </a:ext>
              </a:extLst>
            </p:cNvPr>
            <p:cNvSpPr txBox="1"/>
            <p:nvPr/>
          </p:nvSpPr>
          <p:spPr>
            <a:xfrm flipH="1">
              <a:off x="9597321" y="2405385"/>
              <a:ext cx="3144776" cy="8298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Emphasizes integrated and/or interoperable M&amp;E systems, aligned with new M&amp;E critical approaches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D3D4F7A-4776-60C1-19BA-8C4E4885A6B6}"/>
                </a:ext>
              </a:extLst>
            </p:cNvPr>
            <p:cNvSpPr/>
            <p:nvPr/>
          </p:nvSpPr>
          <p:spPr>
            <a:xfrm>
              <a:off x="7247398" y="2262986"/>
              <a:ext cx="5596299" cy="1114685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35A68C8-ABD8-96F5-17C4-14BC0167F1C2}"/>
                </a:ext>
              </a:extLst>
            </p:cNvPr>
            <p:cNvSpPr/>
            <p:nvPr/>
          </p:nvSpPr>
          <p:spPr>
            <a:xfrm>
              <a:off x="7247397" y="2262986"/>
              <a:ext cx="2195086" cy="1114685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Monitoring &amp; Evaluation Systems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6349DAC-79B7-98EA-9BE9-24A51AA42E83}"/>
              </a:ext>
            </a:extLst>
          </p:cNvPr>
          <p:cNvGrpSpPr/>
          <p:nvPr/>
        </p:nvGrpSpPr>
        <p:grpSpPr>
          <a:xfrm>
            <a:off x="772590" y="3660391"/>
            <a:ext cx="5183710" cy="1478461"/>
            <a:chOff x="7247397" y="2262986"/>
            <a:chExt cx="5183710" cy="1114685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4997C78-549F-D897-5DF4-C371AE691136}"/>
                </a:ext>
              </a:extLst>
            </p:cNvPr>
            <p:cNvSpPr txBox="1"/>
            <p:nvPr/>
          </p:nvSpPr>
          <p:spPr>
            <a:xfrm flipH="1">
              <a:off x="9172640" y="2262986"/>
              <a:ext cx="3258466" cy="111468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Includes 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velopment and implementation of health financing strategies and plans, plus innovative health financing strategies. 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21ADF23-3F16-06FF-0DEB-C1EA5C0F1BF9}"/>
                </a:ext>
              </a:extLst>
            </p:cNvPr>
            <p:cNvSpPr/>
            <p:nvPr/>
          </p:nvSpPr>
          <p:spPr>
            <a:xfrm>
              <a:off x="7247399" y="2262986"/>
              <a:ext cx="5183708" cy="1114685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E2B7964-5861-74DE-903A-F4F152B5F3E4}"/>
                </a:ext>
              </a:extLst>
            </p:cNvPr>
            <p:cNvSpPr/>
            <p:nvPr/>
          </p:nvSpPr>
          <p:spPr>
            <a:xfrm>
              <a:off x="7247397" y="2262986"/>
              <a:ext cx="1799051" cy="1114685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Health Financing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95DF1F0-23FD-9799-245F-CA94FF18B486}"/>
              </a:ext>
            </a:extLst>
          </p:cNvPr>
          <p:cNvGrpSpPr/>
          <p:nvPr/>
        </p:nvGrpSpPr>
        <p:grpSpPr>
          <a:xfrm>
            <a:off x="6235700" y="4054368"/>
            <a:ext cx="5596300" cy="1079442"/>
            <a:chOff x="7247397" y="2262986"/>
            <a:chExt cx="5596300" cy="1114685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BC210A1-5D0C-72DF-1E5D-1CEE0BE846A9}"/>
                </a:ext>
              </a:extLst>
            </p:cNvPr>
            <p:cNvSpPr txBox="1"/>
            <p:nvPr/>
          </p:nvSpPr>
          <p:spPr>
            <a:xfrm flipH="1">
              <a:off x="9597321" y="2405385"/>
              <a:ext cx="3144776" cy="8298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Includes two new interventions focused on quality of care, aligned with new HRH critical approaches, including planning for sustainability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(Body)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7019E3E-61C1-0460-4CD6-BA4762205439}"/>
                </a:ext>
              </a:extLst>
            </p:cNvPr>
            <p:cNvSpPr/>
            <p:nvPr/>
          </p:nvSpPr>
          <p:spPr>
            <a:xfrm>
              <a:off x="7247398" y="2262986"/>
              <a:ext cx="5596299" cy="1114685"/>
            </a:xfrm>
            <a:prstGeom prst="rect">
              <a:avLst/>
            </a:pr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081F897-9F68-8784-C4BD-14C3446C3E30}"/>
                </a:ext>
              </a:extLst>
            </p:cNvPr>
            <p:cNvSpPr/>
            <p:nvPr/>
          </p:nvSpPr>
          <p:spPr>
            <a:xfrm>
              <a:off x="7247397" y="2262986"/>
              <a:ext cx="2195086" cy="1114685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HRH &amp;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Quality of Care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AEB7DB8-215A-3DE3-41BA-03ED6DF8DA2A}"/>
              </a:ext>
            </a:extLst>
          </p:cNvPr>
          <p:cNvGrpSpPr/>
          <p:nvPr/>
        </p:nvGrpSpPr>
        <p:grpSpPr>
          <a:xfrm>
            <a:off x="6235700" y="1637315"/>
            <a:ext cx="5596301" cy="999439"/>
            <a:chOff x="7247396" y="2262986"/>
            <a:chExt cx="5596301" cy="1114685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0D6CCA3-4BF4-92A0-452B-19809CE912AA}"/>
                </a:ext>
              </a:extLst>
            </p:cNvPr>
            <p:cNvSpPr txBox="1"/>
            <p:nvPr/>
          </p:nvSpPr>
          <p:spPr>
            <a:xfrm flipH="1">
              <a:off x="9613877" y="2405385"/>
              <a:ext cx="3128220" cy="8298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(Body)"/>
                  <a:ea typeface="+mn-ea"/>
                  <a:cs typeface="+mn-cs"/>
                </a:rPr>
                <a:t>Emphasizes integrated health products management systems and new ‘critical approaches’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E9FA076-B262-4C12-611B-A714B1AF0ACE}"/>
                </a:ext>
              </a:extLst>
            </p:cNvPr>
            <p:cNvSpPr/>
            <p:nvPr/>
          </p:nvSpPr>
          <p:spPr>
            <a:xfrm>
              <a:off x="7247398" y="2262986"/>
              <a:ext cx="5596299" cy="1114685"/>
            </a:xfrm>
            <a:prstGeom prst="rect">
              <a:avLst/>
            </a:pr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4ED48CC2-B2B7-C267-DA70-110C33E913C5}"/>
                </a:ext>
              </a:extLst>
            </p:cNvPr>
            <p:cNvSpPr/>
            <p:nvPr/>
          </p:nvSpPr>
          <p:spPr>
            <a:xfrm>
              <a:off x="7247396" y="2262986"/>
              <a:ext cx="2211643" cy="1114685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Health Product Management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77527A2-7B59-47F1-C21A-B69E2D7BB06B}"/>
              </a:ext>
            </a:extLst>
          </p:cNvPr>
          <p:cNvGrpSpPr/>
          <p:nvPr/>
        </p:nvGrpSpPr>
        <p:grpSpPr>
          <a:xfrm>
            <a:off x="6235699" y="5270307"/>
            <a:ext cx="5596301" cy="1051024"/>
            <a:chOff x="7247396" y="2262986"/>
            <a:chExt cx="5596301" cy="1114685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44F227C-7394-6B9A-765C-1D4ADB1493B8}"/>
                </a:ext>
              </a:extLst>
            </p:cNvPr>
            <p:cNvSpPr txBox="1"/>
            <p:nvPr/>
          </p:nvSpPr>
          <p:spPr>
            <a:xfrm flipH="1">
              <a:off x="9597321" y="2405385"/>
              <a:ext cx="3144776" cy="82988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Reflects pandemic preparedness and emphasizes integration of lab investments,  governance and innovation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(Body)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D17437D-366E-5689-DA02-524146AE0744}"/>
                </a:ext>
              </a:extLst>
            </p:cNvPr>
            <p:cNvSpPr/>
            <p:nvPr/>
          </p:nvSpPr>
          <p:spPr>
            <a:xfrm>
              <a:off x="7247398" y="2262986"/>
              <a:ext cx="5596299" cy="1114685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0A36749-58B0-9B8F-E3C4-7A92E04CE211}"/>
                </a:ext>
              </a:extLst>
            </p:cNvPr>
            <p:cNvSpPr/>
            <p:nvPr/>
          </p:nvSpPr>
          <p:spPr>
            <a:xfrm>
              <a:off x="7247396" y="2262986"/>
              <a:ext cx="2195085" cy="1114685"/>
            </a:xfrm>
            <a:prstGeom prst="rect">
              <a:avLst/>
            </a:prstGeom>
            <a:solidFill>
              <a:schemeClr val="tx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Laboratory Systems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94CC3FB5-F7EB-33A0-EEFD-5F5D51B19C31}"/>
              </a:ext>
            </a:extLst>
          </p:cNvPr>
          <p:cNvSpPr/>
          <p:nvPr/>
        </p:nvSpPr>
        <p:spPr>
          <a:xfrm>
            <a:off x="359999" y="3660391"/>
            <a:ext cx="440900" cy="2669945"/>
          </a:xfrm>
          <a:prstGeom prst="rect">
            <a:avLst/>
          </a:prstGeom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EW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51361F8-2A04-F844-17DB-DF0E6F630CAF}"/>
              </a:ext>
            </a:extLst>
          </p:cNvPr>
          <p:cNvSpPr txBox="1"/>
          <p:nvPr/>
        </p:nvSpPr>
        <p:spPr>
          <a:xfrm>
            <a:off x="6235698" y="766171"/>
            <a:ext cx="5595939" cy="646331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C29D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Total of </a:t>
            </a: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8C29D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8 RSSH modules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8C29D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8C29D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8C29D3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52 interventions</a:t>
            </a:r>
            <a:endParaRPr kumimoji="0" lang="en-US" sz="1800" b="1" i="0" u="sng" strike="noStrike" kern="1200" cap="none" spc="0" normalizeH="0" baseline="0" noProof="0">
              <a:ln>
                <a:noFill/>
              </a:ln>
              <a:solidFill>
                <a:srgbClr val="8C29D3"/>
              </a:solidFill>
              <a:effectLst/>
              <a:uLnTx/>
              <a:uFillTx/>
              <a:latin typeface="Arial Black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43236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579D30-C2C5-F1A9-30A0-2D1609BED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34700" y="6203950"/>
            <a:ext cx="8973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6032CB-3EF6-E065-1CBC-B8FD38408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54496"/>
            <a:ext cx="11471638" cy="468000"/>
          </a:xfrm>
        </p:spPr>
        <p:txBody>
          <a:bodyPr/>
          <a:lstStyle/>
          <a:p>
            <a:r>
              <a:rPr lang="en-US" sz="2800" b="1" dirty="0">
                <a:latin typeface="Arial Black"/>
              </a:rPr>
              <a:t>Summary of Changes</a:t>
            </a:r>
            <a:br>
              <a:rPr lang="en-US" sz="2800" b="1" dirty="0">
                <a:latin typeface="Arial Black" panose="020B0A04020102020204" pitchFamily="34" charset="0"/>
              </a:rPr>
            </a:br>
            <a:r>
              <a:rPr lang="en-US" sz="2800" dirty="0">
                <a:latin typeface="+mn-lt"/>
              </a:rPr>
              <a:t>RSSH Indicators: Evolved to focus on integrated people-centered quality health services (IPCQS)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F8D6DE5-B3FD-456A-9481-0A157CE13A65}"/>
              </a:ext>
            </a:extLst>
          </p:cNvPr>
          <p:cNvGrpSpPr/>
          <p:nvPr/>
        </p:nvGrpSpPr>
        <p:grpSpPr>
          <a:xfrm>
            <a:off x="360000" y="1349178"/>
            <a:ext cx="4837642" cy="3481813"/>
            <a:chOff x="360000" y="1175927"/>
            <a:chExt cx="4837642" cy="3481813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B10401B-4037-BC31-BB0C-2CDD95BD12D9}"/>
                </a:ext>
              </a:extLst>
            </p:cNvPr>
            <p:cNvSpPr/>
            <p:nvPr/>
          </p:nvSpPr>
          <p:spPr>
            <a:xfrm>
              <a:off x="360000" y="1613854"/>
              <a:ext cx="4837642" cy="3043885"/>
            </a:xfrm>
            <a:prstGeom prst="rect">
              <a:avLst/>
            </a:prstGeom>
            <a:solidFill>
              <a:schemeClr val="bg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F164ACC-EFB8-C1F1-1CA4-F541FC281254}"/>
                </a:ext>
              </a:extLst>
            </p:cNvPr>
            <p:cNvSpPr txBox="1"/>
            <p:nvPr/>
          </p:nvSpPr>
          <p:spPr>
            <a:xfrm>
              <a:off x="360000" y="2259904"/>
              <a:ext cx="4837642" cy="23978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ve we done the activities as planned? (e.g., training conducted) 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e key inputs available? (e.g., active health workers per 10,000 population)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e key services (not linked with HIV, TB and malaria) provided? (e.g., diagnostic, antenatal care)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0B2924-15B6-FF36-18F1-8B162A5A0EC2}"/>
                </a:ext>
              </a:extLst>
            </p:cNvPr>
            <p:cNvSpPr/>
            <p:nvPr/>
          </p:nvSpPr>
          <p:spPr>
            <a:xfrm>
              <a:off x="360000" y="1175927"/>
              <a:ext cx="4837642" cy="1083975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" name="Title 4">
              <a:extLst>
                <a:ext uri="{FF2B5EF4-FFF2-40B4-BE49-F238E27FC236}">
                  <a16:creationId xmlns:a16="http://schemas.microsoft.com/office/drawing/2014/main" id="{DFDF6B32-A514-AAF7-1847-FB7691E706B8}"/>
                </a:ext>
              </a:extLst>
            </p:cNvPr>
            <p:cNvSpPr txBox="1">
              <a:spLocks/>
            </p:cNvSpPr>
            <p:nvPr/>
          </p:nvSpPr>
          <p:spPr>
            <a:xfrm>
              <a:off x="442763" y="1188824"/>
              <a:ext cx="4618153" cy="932116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 "/>
                  <a:ea typeface="+mj-ea"/>
                  <a:cs typeface="+mj-cs"/>
                </a:rPr>
                <a:t>From: metrics to measure RSSH investment inputs and outputs, isolated from HIV, TB and malaria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EDAA790-9CB5-FB8E-92EA-C0161A28634C}"/>
              </a:ext>
            </a:extLst>
          </p:cNvPr>
          <p:cNvGrpSpPr/>
          <p:nvPr/>
        </p:nvGrpSpPr>
        <p:grpSpPr>
          <a:xfrm>
            <a:off x="6984733" y="1349178"/>
            <a:ext cx="4856891" cy="3481812"/>
            <a:chOff x="6984733" y="1175927"/>
            <a:chExt cx="4856891" cy="3481812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C697235-C858-8617-927A-2D5EB2D1409E}"/>
                </a:ext>
              </a:extLst>
            </p:cNvPr>
            <p:cNvGrpSpPr/>
            <p:nvPr/>
          </p:nvGrpSpPr>
          <p:grpSpPr>
            <a:xfrm>
              <a:off x="6994358" y="1175927"/>
              <a:ext cx="4837642" cy="3481812"/>
              <a:chOff x="6111694" y="4239001"/>
              <a:chExt cx="4837642" cy="3481812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58FAD0C8-B71D-38C5-B0C2-D43F9D3F58F0}"/>
                  </a:ext>
                </a:extLst>
              </p:cNvPr>
              <p:cNvSpPr/>
              <p:nvPr/>
            </p:nvSpPr>
            <p:spPr>
              <a:xfrm>
                <a:off x="6111694" y="4676928"/>
                <a:ext cx="4837642" cy="3043885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315A7F0-06C3-1532-B558-09CE329F5F10}"/>
                  </a:ext>
                </a:extLst>
              </p:cNvPr>
              <p:cNvSpPr/>
              <p:nvPr/>
            </p:nvSpPr>
            <p:spPr>
              <a:xfrm>
                <a:off x="6111694" y="4239001"/>
                <a:ext cx="4837642" cy="1083975"/>
              </a:xfrm>
              <a:prstGeom prst="rect">
                <a:avLst/>
              </a:prstGeom>
              <a:solidFill>
                <a:schemeClr val="tx1"/>
              </a:solidFill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CCAEE9C-C410-B1C0-D8BB-C773C57224CA}"/>
                </a:ext>
              </a:extLst>
            </p:cNvPr>
            <p:cNvSpPr txBox="1"/>
            <p:nvPr/>
          </p:nvSpPr>
          <p:spPr>
            <a:xfrm>
              <a:off x="6984733" y="2259904"/>
              <a:ext cx="4856891" cy="23083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did our investments enhance integrated services across HIV, TB, malaria and beyond?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did our investments improve quality of care?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w did we advance the systems that matter for HIV, TB, malaria and PP outcomes?</a:t>
              </a:r>
            </a:p>
          </p:txBody>
        </p:sp>
        <p:sp>
          <p:nvSpPr>
            <p:cNvPr id="7" name="Title 4">
              <a:extLst>
                <a:ext uri="{FF2B5EF4-FFF2-40B4-BE49-F238E27FC236}">
                  <a16:creationId xmlns:a16="http://schemas.microsoft.com/office/drawing/2014/main" id="{9F258509-67D6-AEC7-D741-5D1CFA5793A0}"/>
                </a:ext>
              </a:extLst>
            </p:cNvPr>
            <p:cNvSpPr txBox="1">
              <a:spLocks/>
            </p:cNvSpPr>
            <p:nvPr/>
          </p:nvSpPr>
          <p:spPr>
            <a:xfrm>
              <a:off x="7084193" y="1188825"/>
              <a:ext cx="4757431" cy="979042"/>
            </a:xfrm>
            <a:prstGeom prst="rect">
              <a:avLst/>
            </a:prstGeom>
            <a:noFill/>
            <a:ln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 "/>
                  <a:ea typeface="+mj-ea"/>
                  <a:cs typeface="+mj-cs"/>
                </a:rPr>
                <a:t>To: metrics to measure Integrated, people-centered quality services outcomes linked with HIV, TB and malaria results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0F20F3F-A5E2-FC12-C52A-0952E3F53D75}"/>
              </a:ext>
            </a:extLst>
          </p:cNvPr>
          <p:cNvSpPr txBox="1"/>
          <p:nvPr/>
        </p:nvSpPr>
        <p:spPr>
          <a:xfrm>
            <a:off x="2146434" y="4919614"/>
            <a:ext cx="9695828" cy="17030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asure progress on strategy-related objectives: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asure outcome/s of investments on IPCQS 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courage implementors to shift focus from short term health system support to long term health system strengthening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</p:txBody>
      </p:sp>
      <p:sp>
        <p:nvSpPr>
          <p:cNvPr id="10" name="Arrow: Striped Right 9">
            <a:extLst>
              <a:ext uri="{FF2B5EF4-FFF2-40B4-BE49-F238E27FC236}">
                <a16:creationId xmlns:a16="http://schemas.microsoft.com/office/drawing/2014/main" id="{6DAEAE8F-8919-ADF2-9349-E365E32C7699}"/>
              </a:ext>
            </a:extLst>
          </p:cNvPr>
          <p:cNvSpPr/>
          <p:nvPr/>
        </p:nvSpPr>
        <p:spPr>
          <a:xfrm>
            <a:off x="5738763" y="2775759"/>
            <a:ext cx="704850" cy="628650"/>
          </a:xfrm>
          <a:prstGeom prst="striped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AE757E-D66F-A6FE-EAD3-1BA592008DC9}"/>
              </a:ext>
            </a:extLst>
          </p:cNvPr>
          <p:cNvSpPr/>
          <p:nvPr/>
        </p:nvSpPr>
        <p:spPr>
          <a:xfrm>
            <a:off x="349738" y="4919614"/>
            <a:ext cx="1796696" cy="1479027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Arial"/>
              </a:rPr>
              <a:t>22 new indicators 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Arial"/>
              </a:rPr>
              <a:t>13 discontinued indicators</a:t>
            </a:r>
          </a:p>
        </p:txBody>
      </p:sp>
    </p:spTree>
    <p:extLst>
      <p:ext uri="{BB962C8B-B14F-4D97-AF65-F5344CB8AC3E}">
        <p14:creationId xmlns:p14="http://schemas.microsoft.com/office/powerpoint/2010/main" val="79130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42346CF-907A-D10B-F9C9-756A51052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416D6D-5852-09ED-88C7-C0E1426FA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850" y="117765"/>
            <a:ext cx="11471638" cy="468000"/>
          </a:xfrm>
        </p:spPr>
        <p:txBody>
          <a:bodyPr/>
          <a:lstStyle/>
          <a:p>
            <a:r>
              <a:rPr lang="en-US" b="1">
                <a:cs typeface="Calibri Light"/>
              </a:rPr>
              <a:t>Summary of Changes: RSSH Outcome Indicators</a:t>
            </a:r>
            <a:br>
              <a:rPr lang="en-US" b="1">
                <a:cs typeface="Calibri Light"/>
              </a:rPr>
            </a:br>
            <a:br>
              <a:rPr lang="en-US" b="1">
                <a:cs typeface="Calibri Light"/>
              </a:rPr>
            </a:br>
            <a:endParaRPr lang="en-US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CE26DEA5-DD67-6098-816F-0DDAC6DAB3C5}"/>
              </a:ext>
            </a:extLst>
          </p:cNvPr>
          <p:cNvGraphicFramePr>
            <a:graphicFrameLocks/>
          </p:cNvGraphicFramePr>
          <p:nvPr/>
        </p:nvGraphicFramePr>
        <p:xfrm>
          <a:off x="236356" y="632248"/>
          <a:ext cx="11471638" cy="5771092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512027">
                  <a:extLst>
                    <a:ext uri="{9D8B030D-6E8A-4147-A177-3AD203B41FA5}">
                      <a16:colId xmlns:a16="http://schemas.microsoft.com/office/drawing/2014/main" val="3490088314"/>
                    </a:ext>
                  </a:extLst>
                </a:gridCol>
                <a:gridCol w="5959611">
                  <a:extLst>
                    <a:ext uri="{9D8B030D-6E8A-4147-A177-3AD203B41FA5}">
                      <a16:colId xmlns:a16="http://schemas.microsoft.com/office/drawing/2014/main" val="3876699460"/>
                    </a:ext>
                  </a:extLst>
                </a:gridCol>
              </a:tblGrid>
              <a:tr h="2571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j-lt"/>
                        </a:rPr>
                        <a:t>Previous 2020-2022 RSSH Outcome Indicators</a:t>
                      </a:r>
                    </a:p>
                  </a:txBody>
                  <a:tcPr marL="68580" marR="68580" marT="0" marB="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New) 2023-2025 RSSH Outcome Indicators</a:t>
                      </a: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105952"/>
                  </a:ext>
                </a:extLst>
              </a:tr>
              <a:tr h="466092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dirty="0">
                          <a:effectLst/>
                        </a:rPr>
                        <a:t>Active health workers per 10,000 population (HSS O-8)</a:t>
                      </a: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</a:rPr>
                        <a:t>Systems readiness index for CHWs (RSSH/PP O-1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40037145"/>
                  </a:ext>
                </a:extLst>
              </a:tr>
              <a:tr h="1336817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dirty="0">
                          <a:effectLst/>
                        </a:rPr>
                        <a:t>National aggregate HMIS fully deployed and functional: Percentage of HMIS components in place (HIS deployment, completeness, timeliness, and integration of aggregate disease reporting for HIV, TB and malaria indicators) (HSS O-7)</a:t>
                      </a: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</a:rPr>
                        <a:t>Digital HMIS maturity profile score (RSSH/PP O-2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8747484"/>
                  </a:ext>
                </a:extLst>
              </a:tr>
              <a:tr h="1232003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dirty="0">
                          <a:effectLst/>
                        </a:rPr>
                        <a:t>Percentage of antenatal clients with 1st visit before 12 weeks (HSS O-9)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dirty="0">
                          <a:effectLst/>
                        </a:rPr>
                        <a:t>Percentage of facilities providing diagnostic services on the day of the assessment (HSS O-6)</a:t>
                      </a: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</a:rPr>
                        <a:t>Percentage of facilities providing HIV, TB and malaria integrated services to pregnant women. (RSSH O-1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46972316"/>
                  </a:ext>
                </a:extLst>
              </a:tr>
              <a:tr h="1016000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dirty="0">
                          <a:effectLst/>
                        </a:rPr>
                        <a:t>Proportion of population with large household expenditure on health as a share of total household expenditure or income (catastrophic spending on health) (HSS O-10)</a:t>
                      </a: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</a:rPr>
                        <a:t>Percentage of population with large household expenditure on health as a share of total household expenditure or income (catastrophic spending on health). (RSSH O-2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38187939"/>
                  </a:ext>
                </a:extLst>
              </a:tr>
              <a:tr h="1305339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dirty="0">
                          <a:effectLst/>
                        </a:rPr>
                        <a:t>Percentage of health facilities with tracer medicines for the three diseases available on the day of the visit or day of reporting (HSS-05)</a:t>
                      </a: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</a:rPr>
                        <a:t>On-Shelf Availability: Percentage of facilities with tracer health products for the three diseases- HIV, TB, malaria (as applicable) available on the day of the visit or day of reporting. (RSSH O-3)</a:t>
                      </a:r>
                    </a:p>
                    <a:p>
                      <a:pPr marL="285750" lvl="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</a:rPr>
                        <a:t>Maturity</a:t>
                      </a:r>
                      <a:r>
                        <a:rPr lang="en-US" sz="1600" b="0" u="none" strike="noStrike" noProof="0" dirty="0">
                          <a:effectLst/>
                        </a:rPr>
                        <a:t> </a:t>
                      </a: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</a:rPr>
                        <a:t>level of the national medical products regulatory system. (RSSH O-4)</a:t>
                      </a:r>
                      <a:endParaRPr lang="en-US" sz="16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28510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8385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C6AB464-67B7-48A3-AAB3-52E20B60D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D88AA6-F640-477A-A9B2-FC3DC16AA1EB}"/>
              </a:ext>
            </a:extLst>
          </p:cNvPr>
          <p:cNvSpPr/>
          <p:nvPr/>
        </p:nvSpPr>
        <p:spPr>
          <a:xfrm>
            <a:off x="0" y="2552697"/>
            <a:ext cx="12192000" cy="13824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5970A6-E7D2-4875-B98B-4D5E2AB94606}"/>
              </a:ext>
            </a:extLst>
          </p:cNvPr>
          <p:cNvSpPr/>
          <p:nvPr/>
        </p:nvSpPr>
        <p:spPr>
          <a:xfrm>
            <a:off x="1319439" y="2884712"/>
            <a:ext cx="9553122" cy="7184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600" dirty="0">
                <a:solidFill>
                  <a:srgbClr val="EE0C3D"/>
                </a:solidFill>
                <a:latin typeface="Arial Black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US" sz="3600" dirty="0">
                <a:solidFill>
                  <a:srgbClr val="EE0C3D"/>
                </a:solidFill>
                <a:latin typeface="Arial Black"/>
                <a:ea typeface="Calibri" panose="020F0502020204030204" pitchFamily="34" charset="0"/>
                <a:cs typeface="Times New Roman" panose="02020603050405020304" pitchFamily="18" charset="0"/>
              </a:rPr>
              <a:t>hank you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EE0C3D"/>
              </a:solidFill>
              <a:effectLst/>
              <a:uLnTx/>
              <a:uFillTx/>
              <a:latin typeface="Arial Black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5383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dD5uRLJaObR2425ElTO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3.xml><?xml version="1.0" encoding="utf-8"?>
<a:theme xmlns:a="http://schemas.openxmlformats.org/drawingml/2006/main" name="2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4.xml><?xml version="1.0" encoding="utf-8"?>
<a:theme xmlns:a="http://schemas.openxmlformats.org/drawingml/2006/main" name="4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documentContentValidatorConfiguration":{"enableDocumentContentValidator":false,"documentContentValidatorVersion":0},"elementsMetadata":[],"slideId":"637583062410043406","enableDocumentContentUpdater":true,"version":"1.10"}]]></TemplafySlideTemplateConfiguration>
</file>

<file path=customXml/itemProps1.xml><?xml version="1.0" encoding="utf-8"?>
<ds:datastoreItem xmlns:ds="http://schemas.openxmlformats.org/officeDocument/2006/customXml" ds:itemID="{DB4EA4C1-CE44-4949-837B-D66AEF0DB86B}">
  <ds:schemaRefs/>
</ds:datastoreItem>
</file>

<file path=customXml/itemProps2.xml><?xml version="1.0" encoding="utf-8"?>
<ds:datastoreItem xmlns:ds="http://schemas.openxmlformats.org/officeDocument/2006/customXml" ds:itemID="{92BFE0A2-FA35-4342-822F-30D9BC56DC8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131</Words>
  <Application>Microsoft Office PowerPoint</Application>
  <PresentationFormat>Widescreen</PresentationFormat>
  <Paragraphs>121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4" baseType="lpstr">
      <vt:lpstr>Arial</vt:lpstr>
      <vt:lpstr>Arial  </vt:lpstr>
      <vt:lpstr>Arial (Body)</vt:lpstr>
      <vt:lpstr>Arial Black</vt:lpstr>
      <vt:lpstr>Arial,Sans-Serif</vt:lpstr>
      <vt:lpstr>Calibri</vt:lpstr>
      <vt:lpstr>Calibri Light</vt:lpstr>
      <vt:lpstr>Courier New</vt:lpstr>
      <vt:lpstr>Times New Roman</vt:lpstr>
      <vt:lpstr>Wingdings</vt:lpstr>
      <vt:lpstr>Office Theme</vt:lpstr>
      <vt:lpstr>1_Office Theme</vt:lpstr>
      <vt:lpstr>2_Office Theme</vt:lpstr>
      <vt:lpstr>4_Office Theme</vt:lpstr>
      <vt:lpstr>think-cell Slide</vt:lpstr>
      <vt:lpstr>Modular Framework RSSH</vt:lpstr>
      <vt:lpstr>Contents</vt:lpstr>
      <vt:lpstr>Key Messages Rationale for New Indicators</vt:lpstr>
      <vt:lpstr>The Modular Framework is linked to other Global Fund application materials and reflects global guidance and metrics.</vt:lpstr>
      <vt:lpstr>Summary of Changes: Updated RSSH Modules</vt:lpstr>
      <vt:lpstr>Summary of Changes (by Module)</vt:lpstr>
      <vt:lpstr>Summary of Changes RSSH Indicators: Evolved to focus on integrated people-centered quality health services (IPCQS)</vt:lpstr>
      <vt:lpstr>Summary of Changes: RSSH Outcome Indicators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ar Framework RSSH</dc:title>
  <dc:creator>Nimisha Parakatil</dc:creator>
  <cp:lastModifiedBy>Christopher Chikatula</cp:lastModifiedBy>
  <cp:revision>1</cp:revision>
  <dcterms:created xsi:type="dcterms:W3CDTF">2023-01-23T15:55:08Z</dcterms:created>
  <dcterms:modified xsi:type="dcterms:W3CDTF">2023-01-26T09:24:53Z</dcterms:modified>
</cp:coreProperties>
</file>